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5" r:id="rId3"/>
    <p:sldId id="266" r:id="rId4"/>
    <p:sldId id="267" r:id="rId5"/>
    <p:sldId id="268" r:id="rId6"/>
    <p:sldId id="269" r:id="rId7"/>
    <p:sldId id="270" r:id="rId8"/>
    <p:sldId id="271" r:id="rId9"/>
    <p:sldId id="272" r:id="rId10"/>
    <p:sldId id="273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>
        <p:scale>
          <a:sx n="58" d="100"/>
          <a:sy n="58" d="100"/>
        </p:scale>
        <p:origin x="-1098" y="-4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738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6536FE-B6CA-4D45-A719-6B51F3FF6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FB9388C-63B0-4DA8-97D0-BEEDCF401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ED9BDB0-2A2B-43AC-965A-A9E7E7F741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67DA7C3-2A5B-4BED-A540-9136486CC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35888E8-31D6-4E51-9228-0D6066FED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1606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E3D010CA-6776-433E-8E25-97899E0828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6391E6E-3CF5-4535-B37E-E30058EA28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A6ADEE3-AAA7-4846-8EC6-84B1537C1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1DABD6-6E60-4895-89B1-3604A484D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9A4D314-6D1C-4A42-A445-B77646B2B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526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34D5D7-9AEB-44F2-8A04-0694BE152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3CE933F-693D-4770-8DC4-A5A086AC8A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2A7849A-1CE6-4F5C-95D7-EA8DA5EE5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9FE1FD0-B95E-4CF6-9A27-0F91F96DA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96123BE-5891-49D6-A758-867A98F3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722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BA85FC7-1BEA-438E-A0A7-88FF55112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BD5F5C0-417B-4A28-8AE9-A79AC74A6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4BC6257-C490-4059-9E97-16E46673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A4051CD-74EC-43C1-9F21-D33BD297F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BC95141-29DC-41BA-BE25-E899055F3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532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134FC21-AE04-4050-80E6-D9DCA4B5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1885F7E-EF45-48F7-9E54-C6806D0E96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724501F-6ED5-4112-B037-D3E9F8CF2C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861E48C-176E-4E60-8CB3-542516996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852202B-C929-4B39-AF47-D17C38F86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DEEEBF3-930A-4A23-810D-C1880E7A6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384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0448E08-A828-430D-B8A6-7302E570A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FF5402-465C-4E68-BF7E-BFE1177B55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69B917D-5EC9-44FC-B8A7-9ADF4ADC4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3DCF5D4-E55C-42FF-A7E5-2466DE35B8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7579A7F-77F4-4169-8D51-2123441998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2A735923-3BB5-4F33-8E76-56665E95B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FA43FC79-7089-4373-88DC-12501E782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4E0BEB1-B009-47B7-B159-DE05E615E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726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65FFCC-78CC-4E9D-A277-8230F2733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44CEFE7-D923-48C1-B2FE-8110829C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68F91C9-7841-4F7B-8F24-B5FF45B5B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8896739-CF17-4867-A5ED-317AD19F5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114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4E8942B-5ECF-4556-91C2-496E4C52E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E1589EF-E9AD-45F7-BFBE-6F8AD3570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E18E0FA-5424-403C-8462-1B7C301C6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240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B27A56-C315-441C-9002-DFD599AED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9F57D9A-8037-4B31-951B-4675ADA693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763141B-5121-4179-B3F6-5295691222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A60C32E-3427-4696-A55A-56886EA24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DDFE526-7D20-4EC0-9624-E77981295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7AA82D7-E462-4060-85D6-85CF55540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05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5E919B-BF68-4590-8CA9-A51BAC0F7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A04BC1AA-5C68-47DC-BBF0-1E309865E5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F81A636-7F9C-43EC-B2F2-6FB3323CB7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D19410E-A050-4AA2-BC89-EF52EB1C34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0C23AB0-18A5-4589-926D-C00F68CFE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754EE52-EECA-4C6E-83E9-6382044D3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688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62198A6-F155-4EF9-A832-E7DDD7AE21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01154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C3F6010-77C4-45FE-968C-712199A58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19B1B2C-5D5F-46D9-92F5-ECDF2816A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0334894-C6F5-46F1-BAA2-AFEA88E681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D1C14C-A143-42F5-B247-D0E800131009}" type="datetimeFigureOut">
              <a:rPr lang="en-US" smtClean="0"/>
              <a:t>2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75B1C84-4663-4022-BBEA-7667FEBCF3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72820DA-1F3A-421F-A770-A6347089E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85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public.tableau.com/views/GrossSales_16443350406380/Q1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Relationship Id="rId9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1">
            <a:extLst>
              <a:ext uri="{FF2B5EF4-FFF2-40B4-BE49-F238E27FC236}">
                <a16:creationId xmlns:a16="http://schemas.microsoft.com/office/drawing/2014/main" xmlns="" id="{26446EA6-692B-4B39-B79C-B4815BA4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6598" y="1573775"/>
            <a:ext cx="9144000" cy="2387600"/>
          </a:xfrm>
        </p:spPr>
        <p:txBody>
          <a:bodyPr/>
          <a:lstStyle/>
          <a:p>
            <a:r>
              <a:rPr lang="en-US" dirty="0">
                <a:hlinkClick r:id="rId2"/>
              </a:rPr>
              <a:t>Global Superstore</a:t>
            </a:r>
          </a:p>
        </p:txBody>
      </p:sp>
    </p:spTree>
    <p:extLst>
      <p:ext uri="{BB962C8B-B14F-4D97-AF65-F5344CB8AC3E}">
        <p14:creationId xmlns:p14="http://schemas.microsoft.com/office/powerpoint/2010/main" val="959925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Conclusion</a:t>
            </a:r>
            <a:endParaRPr lang="en-GB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The best performing sub-categories obtained from our first objectives are: Labels, Supplies, Binders, Art, Furnishings, Paper, Storage, Machines, Chairs, Accessories, Phones, Appliances, and Copiers.</a:t>
            </a:r>
          </a:p>
          <a:p>
            <a:r>
              <a:rPr lang="en-US" sz="1600" dirty="0"/>
              <a:t>The best performing Manager based upon total sales is Gilbert Wolff</a:t>
            </a:r>
          </a:p>
          <a:p>
            <a:r>
              <a:rPr lang="en-US" sz="1600" dirty="0"/>
              <a:t>The performance of sub-categories in various regions can be measured in terms of total sales as well as profit ratio. 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460668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Contents</a:t>
            </a:r>
            <a:endParaRPr lang="en-GB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rgbClr val="0070C0"/>
              </a:buClr>
            </a:pPr>
            <a:r>
              <a:rPr lang="en-US" sz="1600" dirty="0"/>
              <a:t>Objectives of the Presentation</a:t>
            </a:r>
          </a:p>
          <a:p>
            <a:pPr>
              <a:buClr>
                <a:srgbClr val="0070C0"/>
              </a:buClr>
            </a:pPr>
            <a:r>
              <a:rPr lang="en-US" sz="1600" dirty="0"/>
              <a:t>Overview of Dataset</a:t>
            </a:r>
          </a:p>
          <a:p>
            <a:pPr>
              <a:buClr>
                <a:srgbClr val="0070C0"/>
              </a:buClr>
            </a:pPr>
            <a:r>
              <a:rPr lang="en-US" sz="1600" dirty="0"/>
              <a:t>Graphs/ Results obtained</a:t>
            </a:r>
          </a:p>
          <a:p>
            <a:pPr>
              <a:buClr>
                <a:srgbClr val="0070C0"/>
              </a:buClr>
            </a:pPr>
            <a:r>
              <a:rPr lang="en-US" sz="1600" dirty="0"/>
              <a:t>Conclusion</a:t>
            </a:r>
          </a:p>
          <a:p>
            <a:pPr marL="0" indent="0">
              <a:buClr>
                <a:srgbClr val="0070C0"/>
              </a:buClr>
              <a:buNone/>
            </a:pP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7862539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Overview of the Dataset</a:t>
            </a:r>
            <a:endParaRPr lang="en-GB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rgbClr val="0070C0"/>
              </a:buClr>
            </a:pPr>
            <a:r>
              <a:rPr lang="en-US" sz="1600" dirty="0"/>
              <a:t>The dataset includes data for Sales of products sold by a company with information on geography, Product categories, subcategories, sales and profits, segmentation amongst the consumers etc.</a:t>
            </a:r>
          </a:p>
          <a:p>
            <a:pPr>
              <a:buClr>
                <a:srgbClr val="0070C0"/>
              </a:buClr>
            </a:pPr>
            <a:r>
              <a:rPr lang="en-US" sz="1600" dirty="0"/>
              <a:t>The dataset overall consists of two sheets “Orders” and “Persons”</a:t>
            </a:r>
          </a:p>
          <a:p>
            <a:pPr lvl="1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400" dirty="0"/>
              <a:t>"Orders" worksheet consists of product orders across categories</a:t>
            </a:r>
          </a:p>
          <a:p>
            <a:pPr lvl="1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400" dirty="0"/>
              <a:t>“Persons” worksheet consists of names of managers of each region</a:t>
            </a:r>
          </a:p>
          <a:p>
            <a:pPr>
              <a:buClr>
                <a:srgbClr val="0070C0"/>
              </a:buClr>
            </a:pPr>
            <a:r>
              <a:rPr lang="en-US" sz="1600" dirty="0"/>
              <a:t>The Global Superstore dataset is helpful to analyze and visualize the marketing and sales trends to derive key insights to ascertain future strategy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84074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Objectives</a:t>
            </a:r>
            <a:endParaRPr lang="en-GB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Identify Sub-Category with Standard Deviation for Sales and Profit one point more than the Mean of Sales and Profit?</a:t>
            </a:r>
          </a:p>
          <a:p>
            <a:r>
              <a:rPr lang="en-US" sz="1600" dirty="0"/>
              <a:t>Identify Sub-Categories where Top 20 Customers have Sales more than the other Sub-Categories in the same Region.</a:t>
            </a:r>
          </a:p>
          <a:p>
            <a:r>
              <a:rPr lang="en-US" sz="1600" dirty="0"/>
              <a:t>Identify Regions where Top 20 Customers that have overall Profit Ratio (Profit as % of Sales) more than Profit Ratio of least profitable Sub-Category in the Region</a:t>
            </a:r>
          </a:p>
          <a:p>
            <a:r>
              <a:rPr lang="en-US" sz="1600" dirty="0"/>
              <a:t>Identify Managers whose Region Sales were greater than the Overall Average Sales?</a:t>
            </a:r>
            <a:endParaRPr lang="en-GB" sz="1600" dirty="0"/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xmlns="" id="{F0004B5D-0F2C-4456-990F-A10A832F97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3351" y="3055837"/>
            <a:ext cx="306910" cy="306910"/>
          </a:xfrm>
          <a:prstGeom prst="ellipse">
            <a:avLst/>
          </a:prstGeom>
          <a:solidFill>
            <a:srgbClr val="0D72B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4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xmlns="" id="{329A944F-732D-4CC4-8D05-C90C4028AD2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3351" y="2525935"/>
            <a:ext cx="306910" cy="306910"/>
          </a:xfrm>
          <a:prstGeom prst="ellipse">
            <a:avLst/>
          </a:prstGeom>
          <a:solidFill>
            <a:srgbClr val="0D72B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3</a:t>
            </a:r>
          </a:p>
        </p:txBody>
      </p:sp>
      <p:sp>
        <p:nvSpPr>
          <p:cNvPr id="6" name="Oval 20">
            <a:extLst>
              <a:ext uri="{FF2B5EF4-FFF2-40B4-BE49-F238E27FC236}">
                <a16:creationId xmlns:a16="http://schemas.microsoft.com/office/drawing/2014/main" xmlns="" id="{F98F14E9-F4FA-4825-A349-479ADE3190B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3351" y="2175780"/>
            <a:ext cx="306910" cy="306910"/>
          </a:xfrm>
          <a:prstGeom prst="ellipse">
            <a:avLst/>
          </a:prstGeom>
          <a:solidFill>
            <a:srgbClr val="0D72B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2</a:t>
            </a: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xmlns="" id="{3963B71E-AA1A-4C16-9F14-4A1FD5C67D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3351" y="1825625"/>
            <a:ext cx="306910" cy="306910"/>
          </a:xfrm>
          <a:prstGeom prst="ellipse">
            <a:avLst/>
          </a:prstGeom>
          <a:solidFill>
            <a:srgbClr val="0D72BA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79965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402" y="1096280"/>
            <a:ext cx="10515600" cy="2852737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Graphs &amp; Results Obtained</a:t>
            </a:r>
            <a:endParaRPr lang="en-GB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539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347B8659-BE49-4C86-A3CA-F1A13E8FAC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693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40780" y="1657828"/>
            <a:ext cx="335665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“STDEV([Profit])&gt;AVG([Profit])AND STDEV([Sales])&gt;AVG([Sales])” applied on sub-categories to check for sub-categories with high variance of orders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djacent graph depicts sub-categories with variance of orders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High risk of orders </a:t>
            </a:r>
            <a:r>
              <a:rPr lang="en-US" sz="1400" dirty="0"/>
              <a:t>seen across products as </a:t>
            </a:r>
            <a:r>
              <a:rPr lang="en-US" sz="1400" dirty="0">
                <a:solidFill>
                  <a:schemeClr val="accent1"/>
                </a:solidFill>
              </a:rPr>
              <a:t>&gt;75% of sub-categories have high vari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10613AB-EACC-4E4A-9298-F67397089A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87098" y="2106433"/>
            <a:ext cx="7306924" cy="3780341"/>
          </a:xfrm>
          <a:prstGeom prst="rect">
            <a:avLst/>
          </a:prstGeom>
        </p:spPr>
      </p:pic>
      <p:sp>
        <p:nvSpPr>
          <p:cNvPr id="25" name="NavigationTriangle">
            <a:extLst>
              <a:ext uri="{FF2B5EF4-FFF2-40B4-BE49-F238E27FC236}">
                <a16:creationId xmlns:a16="http://schemas.microsoft.com/office/drawing/2014/main" xmlns="" id="{C336E158-9BBF-43CE-A50E-32009E176315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NavigationIcon">
            <a:extLst>
              <a:ext uri="{FF2B5EF4-FFF2-40B4-BE49-F238E27FC236}">
                <a16:creationId xmlns:a16="http://schemas.microsoft.com/office/drawing/2014/main" xmlns="" id="{C51AB67A-D46E-442A-A1CC-7DF974CDFD27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  <a:latin typeface="Trebuchet MS" panose="020B0603020202020204" pitchFamily="34" charset="0"/>
              </a:rPr>
              <a:t>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B7B22CFF-E808-456D-895D-A87F961B388E}"/>
              </a:ext>
            </a:extLst>
          </p:cNvPr>
          <p:cNvSpPr txBox="1"/>
          <p:nvPr/>
        </p:nvSpPr>
        <p:spPr>
          <a:xfrm>
            <a:off x="4387098" y="1583213"/>
            <a:ext cx="67076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</a:pPr>
            <a:r>
              <a:rPr lang="en-US" sz="1400" u="sng" dirty="0"/>
              <a:t>Average Profit, Average Sales, Standard Deviation of Profit and Standard Deviation of Sales across select sub-categories with standard deviation higher than average</a:t>
            </a:r>
            <a:endParaRPr lang="en-GB" sz="2000" u="sng" dirty="0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xmlns="" id="{2A583C46-7CA7-4143-B230-E9744867EC61}"/>
              </a:ext>
            </a:extLst>
          </p:cNvPr>
          <p:cNvSpPr txBox="1">
            <a:spLocks/>
          </p:cNvSpPr>
          <p:nvPr/>
        </p:nvSpPr>
        <p:spPr>
          <a:xfrm>
            <a:off x="791900" y="1044"/>
            <a:ext cx="10898643" cy="978729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>
                <a:solidFill>
                  <a:schemeClr val="accent5">
                    <a:lumMod val="75000"/>
                  </a:schemeClr>
                </a:solidFill>
              </a:rPr>
              <a:t>13 out of 17 categories with standard deviation greater than average for both Sales and Profit</a:t>
            </a:r>
          </a:p>
        </p:txBody>
      </p:sp>
    </p:spTree>
    <p:extLst>
      <p:ext uri="{BB962C8B-B14F-4D97-AF65-F5344CB8AC3E}">
        <p14:creationId xmlns:p14="http://schemas.microsoft.com/office/powerpoint/2010/main" val="168877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xmlns="" id="{A3961F0D-AA35-4EF6-B049-0A0F951E50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612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900" y="23078"/>
            <a:ext cx="10898643" cy="978729"/>
          </a:xfrm>
        </p:spPr>
        <p:txBody>
          <a:bodyPr vert="horz">
            <a:spAutoFit/>
          </a:bodyPr>
          <a:lstStyle/>
          <a:p>
            <a:r>
              <a:rPr lang="en-US" sz="3200" dirty="0">
                <a:solidFill>
                  <a:schemeClr val="accent5">
                    <a:lumMod val="75000"/>
                  </a:schemeClr>
                </a:solidFill>
              </a:rPr>
              <a:t>Copiers and phones top 2 sub-categories with top 2 customers having highest sales</a:t>
            </a:r>
            <a:endParaRPr lang="en-GB" sz="32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slide2" descr="Q2">
            <a:extLst>
              <a:ext uri="{FF2B5EF4-FFF2-40B4-BE49-F238E27FC236}">
                <a16:creationId xmlns:a16="http://schemas.microsoft.com/office/drawing/2014/main" xmlns="" id="{F0DD48A5-CA7E-451B-AB92-A90EF327D1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873" y="1416329"/>
            <a:ext cx="10334428" cy="43513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21803" y="5864182"/>
            <a:ext cx="109612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Copiers sub-category </a:t>
            </a:r>
            <a:r>
              <a:rPr lang="en-US" sz="1400" dirty="0"/>
              <a:t>has highest sales in top 20 customers across 3 regions: Western US, Eastern US and Central U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Phones sub-category </a:t>
            </a:r>
            <a:r>
              <a:rPr lang="en-US" sz="1400" dirty="0"/>
              <a:t>has highest sales in top 20 customers across 2 regions: Southern Asia and Central America</a:t>
            </a:r>
          </a:p>
        </p:txBody>
      </p:sp>
      <p:sp>
        <p:nvSpPr>
          <p:cNvPr id="7" name="NavigationTriangle">
            <a:extLst>
              <a:ext uri="{FF2B5EF4-FFF2-40B4-BE49-F238E27FC236}">
                <a16:creationId xmlns:a16="http://schemas.microsoft.com/office/drawing/2014/main" xmlns="" id="{7CF7D68D-C81C-4F7F-B68D-277851CD18D3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NavigationIcon">
            <a:extLst>
              <a:ext uri="{FF2B5EF4-FFF2-40B4-BE49-F238E27FC236}">
                <a16:creationId xmlns:a16="http://schemas.microsoft.com/office/drawing/2014/main" xmlns="" id="{0C752F06-4EB4-4060-93AE-BD5E0ADEDB86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  <a:latin typeface="Trebuchet MS" panose="020B0603020202020204" pitchFamily="34" charset="0"/>
              </a:rPr>
              <a:t>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5031A07-566A-43AB-9818-8ABEC2BCC3D4}"/>
              </a:ext>
            </a:extLst>
          </p:cNvPr>
          <p:cNvSpPr/>
          <p:nvPr/>
        </p:nvSpPr>
        <p:spPr>
          <a:xfrm>
            <a:off x="908080" y="2037577"/>
            <a:ext cx="9217753" cy="235168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0564F036-890A-444F-9BEC-2F6D627E46C6}"/>
              </a:ext>
            </a:extLst>
          </p:cNvPr>
          <p:cNvSpPr/>
          <p:nvPr/>
        </p:nvSpPr>
        <p:spPr>
          <a:xfrm>
            <a:off x="908080" y="3005228"/>
            <a:ext cx="9217753" cy="235168"/>
          </a:xfrm>
          <a:prstGeom prst="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EC0CED0-31D9-4FD5-BF2E-C5CA29C0FC25}"/>
              </a:ext>
            </a:extLst>
          </p:cNvPr>
          <p:cNvSpPr/>
          <p:nvPr/>
        </p:nvSpPr>
        <p:spPr>
          <a:xfrm>
            <a:off x="908080" y="4138123"/>
            <a:ext cx="9217753" cy="235168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7E27289-7550-4983-A100-3BE126700A08}"/>
              </a:ext>
            </a:extLst>
          </p:cNvPr>
          <p:cNvSpPr/>
          <p:nvPr/>
        </p:nvSpPr>
        <p:spPr>
          <a:xfrm>
            <a:off x="908080" y="4775262"/>
            <a:ext cx="9217753" cy="235168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FFA75476-D954-489A-A1FF-329D06F61E53}"/>
              </a:ext>
            </a:extLst>
          </p:cNvPr>
          <p:cNvSpPr/>
          <p:nvPr/>
        </p:nvSpPr>
        <p:spPr>
          <a:xfrm>
            <a:off x="908080" y="5085581"/>
            <a:ext cx="9217753" cy="235168"/>
          </a:xfrm>
          <a:prstGeom prst="rect">
            <a:avLst/>
          </a:prstGeom>
          <a:noFill/>
          <a:ln w="1270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8F5867A6-B4D3-4C7E-A8AB-18840B7C9AED}"/>
              </a:ext>
            </a:extLst>
          </p:cNvPr>
          <p:cNvSpPr txBox="1"/>
          <p:nvPr/>
        </p:nvSpPr>
        <p:spPr>
          <a:xfrm>
            <a:off x="821803" y="1009422"/>
            <a:ext cx="89278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u="sng" dirty="0"/>
              <a:t>Sales by sub-category x region for top 20 customers (by sales)</a:t>
            </a:r>
          </a:p>
        </p:txBody>
      </p:sp>
    </p:spTree>
    <p:extLst>
      <p:ext uri="{BB962C8B-B14F-4D97-AF65-F5344CB8AC3E}">
        <p14:creationId xmlns:p14="http://schemas.microsoft.com/office/powerpoint/2010/main" val="23657167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8EC6BD4-400D-466C-A211-FB84121A8D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305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slide2" descr="Q3">
            <a:extLst>
              <a:ext uri="{FF2B5EF4-FFF2-40B4-BE49-F238E27FC236}">
                <a16:creationId xmlns:a16="http://schemas.microsoft.com/office/drawing/2014/main" xmlns="" id="{0AF6B242-4D7E-4558-B2AC-F93AEBEB56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67" y="1515627"/>
            <a:ext cx="10515600" cy="319804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91901" y="5229015"/>
            <a:ext cx="110885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Profit ratio defined by profit as % of sales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1"/>
                </a:solidFill>
              </a:rPr>
              <a:t>Central America and Western Europe among the most profitable regions </a:t>
            </a:r>
            <a:r>
              <a:rPr lang="en-US" sz="1400" dirty="0"/>
              <a:t>with most sub-categories having better profit ratio than minimum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Table filtered with regions for which average profit ratio in top 20 customers greater than least profit ratio (sub-category)</a:t>
            </a:r>
          </a:p>
        </p:txBody>
      </p:sp>
      <p:sp>
        <p:nvSpPr>
          <p:cNvPr id="6" name="NavigationTriangle">
            <a:extLst>
              <a:ext uri="{FF2B5EF4-FFF2-40B4-BE49-F238E27FC236}">
                <a16:creationId xmlns:a16="http://schemas.microsoft.com/office/drawing/2014/main" xmlns="" id="{ADEBDC15-EFBE-41CE-815F-6A250CBDBD08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NavigationIcon">
            <a:extLst>
              <a:ext uri="{FF2B5EF4-FFF2-40B4-BE49-F238E27FC236}">
                <a16:creationId xmlns:a16="http://schemas.microsoft.com/office/drawing/2014/main" xmlns="" id="{34AD89DE-21BA-4717-8A9B-79462A044E2A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  <a:latin typeface="Trebuchet MS" panose="020B0603020202020204" pitchFamily="34" charset="0"/>
              </a:rPr>
              <a:t>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36C24AA-243B-49F4-B12F-51E19BD08A3B}"/>
              </a:ext>
            </a:extLst>
          </p:cNvPr>
          <p:cNvSpPr txBox="1"/>
          <p:nvPr/>
        </p:nvSpPr>
        <p:spPr>
          <a:xfrm>
            <a:off x="916005" y="1141290"/>
            <a:ext cx="81162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u="sng" dirty="0"/>
              <a:t>Profit Ratio by sub-category x region for sub-categories with higher than minimum profit rati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00E486F-09C8-43E6-B133-B65E45C76474}"/>
              </a:ext>
            </a:extLst>
          </p:cNvPr>
          <p:cNvSpPr/>
          <p:nvPr/>
        </p:nvSpPr>
        <p:spPr>
          <a:xfrm>
            <a:off x="1284018" y="1987654"/>
            <a:ext cx="864232" cy="2802791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FA5E02F6-DAEF-48DC-9A75-C808FA5ACE13}"/>
              </a:ext>
            </a:extLst>
          </p:cNvPr>
          <p:cNvSpPr txBox="1">
            <a:spLocks/>
          </p:cNvSpPr>
          <p:nvPr/>
        </p:nvSpPr>
        <p:spPr>
          <a:xfrm>
            <a:off x="791900" y="1044"/>
            <a:ext cx="10898643" cy="978729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>
                <a:solidFill>
                  <a:schemeClr val="accent5">
                    <a:lumMod val="75000"/>
                  </a:schemeClr>
                </a:solidFill>
              </a:rPr>
              <a:t>Central America and Western Europe among the most </a:t>
            </a:r>
            <a:br>
              <a:rPr lang="en-GB" sz="3200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GB" sz="3200" dirty="0">
                <a:solidFill>
                  <a:schemeClr val="accent5">
                    <a:lumMod val="75000"/>
                  </a:schemeClr>
                </a:solidFill>
              </a:rPr>
              <a:t>profitable regions</a:t>
            </a:r>
          </a:p>
        </p:txBody>
      </p:sp>
    </p:spTree>
    <p:extLst>
      <p:ext uri="{BB962C8B-B14F-4D97-AF65-F5344CB8AC3E}">
        <p14:creationId xmlns:p14="http://schemas.microsoft.com/office/powerpoint/2010/main" val="2448591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8CA745DA-A336-4DFE-8D3A-BA022B0C6A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27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slide2" descr="Q4">
            <a:extLst>
              <a:ext uri="{FF2B5EF4-FFF2-40B4-BE49-F238E27FC236}">
                <a16:creationId xmlns:a16="http://schemas.microsoft.com/office/drawing/2014/main" xmlns="" id="{97CDD2EB-792E-4238-9615-78EF6909CE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900" y="1686909"/>
            <a:ext cx="8236462" cy="395576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71332" y="5708970"/>
            <a:ext cx="111927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Managers whose total sales is higher than average and falls under the grey region have above par performance, and those whose sales were unable to enter the grey region have a below par performance</a:t>
            </a:r>
            <a:endParaRPr lang="en-GB" sz="14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D874CE5E-7877-45B2-8925-65CC9001274D}"/>
              </a:ext>
            </a:extLst>
          </p:cNvPr>
          <p:cNvSpPr txBox="1">
            <a:spLocks/>
          </p:cNvSpPr>
          <p:nvPr/>
        </p:nvSpPr>
        <p:spPr>
          <a:xfrm>
            <a:off x="791900" y="1044"/>
            <a:ext cx="10898643" cy="978729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>
                <a:solidFill>
                  <a:schemeClr val="accent5">
                    <a:lumMod val="75000"/>
                  </a:schemeClr>
                </a:solidFill>
              </a:rPr>
              <a:t>Gilbert Wolff is top manager among 11 managers whose region sales is greater than overall average sales</a:t>
            </a:r>
          </a:p>
        </p:txBody>
      </p:sp>
      <p:sp>
        <p:nvSpPr>
          <p:cNvPr id="9" name="NavigationTriangle">
            <a:extLst>
              <a:ext uri="{FF2B5EF4-FFF2-40B4-BE49-F238E27FC236}">
                <a16:creationId xmlns:a16="http://schemas.microsoft.com/office/drawing/2014/main" xmlns="" id="{E520610E-2686-4946-8C5E-88DCBA890148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NavigationIcon">
            <a:extLst>
              <a:ext uri="{FF2B5EF4-FFF2-40B4-BE49-F238E27FC236}">
                <a16:creationId xmlns:a16="http://schemas.microsoft.com/office/drawing/2014/main" xmlns="" id="{1655C73F-119C-4020-85BC-12F9C53F94CC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accent1"/>
                </a:solidFill>
                <a:latin typeface="Trebuchet MS" panose="020B0603020202020204" pitchFamily="34" charset="0"/>
              </a:rPr>
              <a:t>4</a:t>
            </a:r>
            <a:endParaRPr lang="en-US" sz="1600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4030B34-4B31-45E3-86B6-D83D01830A41}"/>
              </a:ext>
            </a:extLst>
          </p:cNvPr>
          <p:cNvSpPr txBox="1"/>
          <p:nvPr/>
        </p:nvSpPr>
        <p:spPr>
          <a:xfrm>
            <a:off x="671332" y="1093413"/>
            <a:ext cx="1073112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</a:pPr>
            <a:r>
              <a:rPr lang="en-US" sz="1600" u="sng" dirty="0"/>
              <a:t>Regional Sales of managers</a:t>
            </a: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F9887671-9CB6-415A-A59D-B1937B92A977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77326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EB35410-108D-4C4F-9041-514A7F64A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8E8AAAE-B825-452F-95E6-B13D5FAFC4FB}"/>
              </a:ext>
            </a:extLst>
          </p:cNvPr>
          <p:cNvCxnSpPr>
            <a:cxnSpLocks/>
          </p:cNvCxnSpPr>
          <p:nvPr/>
        </p:nvCxnSpPr>
        <p:spPr>
          <a:xfrm>
            <a:off x="7965195" y="3526400"/>
            <a:ext cx="1358467" cy="0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headEnd type="oval"/>
            <a:tailEnd type="none" w="sm" len="sm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952C61C-EF8B-4C7D-857C-BC68E38FBB9A}"/>
              </a:ext>
            </a:extLst>
          </p:cNvPr>
          <p:cNvSpPr/>
          <p:nvPr/>
        </p:nvSpPr>
        <p:spPr>
          <a:xfrm>
            <a:off x="9329925" y="2978502"/>
            <a:ext cx="2534125" cy="1095796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ysClr val="window" lastClr="FFFFFF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chemeClr val="accent4"/>
                </a:solidFill>
                <a:prstDash val="solid"/>
              </a14:hiddenLine>
            </a:ext>
          </a:extLst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Grey area represents sales higher than overall average sales</a:t>
            </a:r>
            <a:endParaRPr kumimoji="0" lang="en-US" sz="60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0760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vbfYEjP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9</Words>
  <Application>Microsoft Office PowerPoint</Application>
  <PresentationFormat>Custom</PresentationFormat>
  <Paragraphs>50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Global Superstore</vt:lpstr>
      <vt:lpstr>Contents</vt:lpstr>
      <vt:lpstr>Overview of the Dataset</vt:lpstr>
      <vt:lpstr>Objectives</vt:lpstr>
      <vt:lpstr>Graphs &amp; Results Obtained</vt:lpstr>
      <vt:lpstr>PowerPoint Presentation</vt:lpstr>
      <vt:lpstr>Copiers and phones top 2 sub-categories with top 2 customers having highest sales</vt:lpstr>
      <vt:lpstr>PowerPoint Presentation</vt:lpstr>
      <vt:lpstr>PowerPoint Presentation</vt:lpstr>
      <vt:lpstr>Conclu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Superstore</dc:title>
  <dc:creator>Akankshya Dash</dc:creator>
  <cp:lastModifiedBy>USER</cp:lastModifiedBy>
  <cp:revision>24</cp:revision>
  <dcterms:created xsi:type="dcterms:W3CDTF">2022-02-08T15:59:07Z</dcterms:created>
  <dcterms:modified xsi:type="dcterms:W3CDTF">2022-02-14T18:3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2-02-14T18:32:53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1b24584a-c207-403c-b3b9-afaa22afdc09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